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27"/>
  </p:notesMasterIdLst>
  <p:sldIdLst>
    <p:sldId id="257" r:id="rId3"/>
    <p:sldId id="285" r:id="rId4"/>
    <p:sldId id="286" r:id="rId5"/>
    <p:sldId id="287" r:id="rId6"/>
    <p:sldId id="288" r:id="rId7"/>
    <p:sldId id="289" r:id="rId8"/>
    <p:sldId id="290" r:id="rId9"/>
    <p:sldId id="291" r:id="rId10"/>
    <p:sldId id="292" r:id="rId11"/>
    <p:sldId id="293" r:id="rId12"/>
    <p:sldId id="294" r:id="rId13"/>
    <p:sldId id="299" r:id="rId14"/>
    <p:sldId id="295" r:id="rId15"/>
    <p:sldId id="296" r:id="rId16"/>
    <p:sldId id="297" r:id="rId17"/>
    <p:sldId id="298" r:id="rId18"/>
    <p:sldId id="300" r:id="rId19"/>
    <p:sldId id="304" r:id="rId20"/>
    <p:sldId id="305" r:id="rId21"/>
    <p:sldId id="301" r:id="rId22"/>
    <p:sldId id="302" r:id="rId23"/>
    <p:sldId id="303" r:id="rId24"/>
    <p:sldId id="306" r:id="rId25"/>
    <p:sldId id="307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90" d="100"/>
          <a:sy n="90" d="100"/>
        </p:scale>
        <p:origin x="48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ep Reddy Hanumaihgari" userId="86a9f56c-2e65-4a80-9d64-63b9c07412a6" providerId="ADAL" clId="{5A858CCE-FF2B-44E5-B9D3-14B4342D2EF0}"/>
    <pc:docChg chg="custSel addSld modSld sldOrd">
      <pc:chgData name="Sandeep Reddy Hanumaihgari" userId="86a9f56c-2e65-4a80-9d64-63b9c07412a6" providerId="ADAL" clId="{5A858CCE-FF2B-44E5-B9D3-14B4342D2EF0}" dt="2018-05-05T22:56:13.184" v="177" actId="1076"/>
      <pc:docMkLst>
        <pc:docMk/>
      </pc:docMkLst>
      <pc:sldChg chg="ord">
        <pc:chgData name="Sandeep Reddy Hanumaihgari" userId="86a9f56c-2e65-4a80-9d64-63b9c07412a6" providerId="ADAL" clId="{5A858CCE-FF2B-44E5-B9D3-14B4342D2EF0}" dt="2018-05-05T22:51:40.416" v="72"/>
        <pc:sldMkLst>
          <pc:docMk/>
          <pc:sldMk cId="4133766393" sldId="299"/>
        </pc:sldMkLst>
      </pc:sldChg>
      <pc:sldChg chg="addSp delSp modSp add ord">
        <pc:chgData name="Sandeep Reddy Hanumaihgari" userId="86a9f56c-2e65-4a80-9d64-63b9c07412a6" providerId="ADAL" clId="{5A858CCE-FF2B-44E5-B9D3-14B4342D2EF0}" dt="2018-05-05T22:50:53.480" v="70"/>
        <pc:sldMkLst>
          <pc:docMk/>
          <pc:sldMk cId="461969238" sldId="304"/>
        </pc:sldMkLst>
        <pc:spChg chg="mod">
          <ac:chgData name="Sandeep Reddy Hanumaihgari" userId="86a9f56c-2e65-4a80-9d64-63b9c07412a6" providerId="ADAL" clId="{5A858CCE-FF2B-44E5-B9D3-14B4342D2EF0}" dt="2018-05-05T22:44:47.099" v="56" actId="20577"/>
          <ac:spMkLst>
            <pc:docMk/>
            <pc:sldMk cId="461969238" sldId="304"/>
            <ac:spMk id="2" creationId="{A6869F3A-7680-44C5-A130-F033FE0F2A5B}"/>
          </ac:spMkLst>
        </pc:spChg>
        <pc:spChg chg="del">
          <ac:chgData name="Sandeep Reddy Hanumaihgari" userId="86a9f56c-2e65-4a80-9d64-63b9c07412a6" providerId="ADAL" clId="{5A858CCE-FF2B-44E5-B9D3-14B4342D2EF0}" dt="2018-05-05T22:45:08.605" v="57"/>
          <ac:spMkLst>
            <pc:docMk/>
            <pc:sldMk cId="461969238" sldId="304"/>
            <ac:spMk id="3" creationId="{80042D1F-D9DC-4324-B852-093F794F13CA}"/>
          </ac:spMkLst>
        </pc:spChg>
        <pc:picChg chg="add mod">
          <ac:chgData name="Sandeep Reddy Hanumaihgari" userId="86a9f56c-2e65-4a80-9d64-63b9c07412a6" providerId="ADAL" clId="{5A858CCE-FF2B-44E5-B9D3-14B4342D2EF0}" dt="2018-05-05T22:45:12.536" v="58" actId="1076"/>
          <ac:picMkLst>
            <pc:docMk/>
            <pc:sldMk cId="461969238" sldId="304"/>
            <ac:picMk id="4" creationId="{E9FF7485-74BD-4BD7-A99F-90C2763C0A79}"/>
          </ac:picMkLst>
        </pc:picChg>
      </pc:sldChg>
      <pc:sldChg chg="addSp delSp modSp add ord">
        <pc:chgData name="Sandeep Reddy Hanumaihgari" userId="86a9f56c-2e65-4a80-9d64-63b9c07412a6" providerId="ADAL" clId="{5A858CCE-FF2B-44E5-B9D3-14B4342D2EF0}" dt="2018-05-05T22:51:20.095" v="71"/>
        <pc:sldMkLst>
          <pc:docMk/>
          <pc:sldMk cId="131183013" sldId="305"/>
        </pc:sldMkLst>
        <pc:spChg chg="del">
          <ac:chgData name="Sandeep Reddy Hanumaihgari" userId="86a9f56c-2e65-4a80-9d64-63b9c07412a6" providerId="ADAL" clId="{5A858CCE-FF2B-44E5-B9D3-14B4342D2EF0}" dt="2018-05-05T22:48:06.727" v="60"/>
          <ac:spMkLst>
            <pc:docMk/>
            <pc:sldMk cId="131183013" sldId="305"/>
            <ac:spMk id="2" creationId="{F0DCCDE5-6A7C-40B1-9D54-04A1A052F395}"/>
          </ac:spMkLst>
        </pc:spChg>
        <pc:spChg chg="del">
          <ac:chgData name="Sandeep Reddy Hanumaihgari" userId="86a9f56c-2e65-4a80-9d64-63b9c07412a6" providerId="ADAL" clId="{5A858CCE-FF2B-44E5-B9D3-14B4342D2EF0}" dt="2018-05-05T22:48:36.224" v="68"/>
          <ac:spMkLst>
            <pc:docMk/>
            <pc:sldMk cId="131183013" sldId="305"/>
            <ac:spMk id="3" creationId="{0AF3B2AC-7EED-4FE1-A29C-E1540C535F1A}"/>
          </ac:spMkLst>
        </pc:spChg>
        <pc:spChg chg="add mod">
          <ac:chgData name="Sandeep Reddy Hanumaihgari" userId="86a9f56c-2e65-4a80-9d64-63b9c07412a6" providerId="ADAL" clId="{5A858CCE-FF2B-44E5-B9D3-14B4342D2EF0}" dt="2018-05-05T22:48:16.715" v="67" actId="20577"/>
          <ac:spMkLst>
            <pc:docMk/>
            <pc:sldMk cId="131183013" sldId="305"/>
            <ac:spMk id="4" creationId="{FAF38EE5-B2EB-438D-BB7D-D1A7EC5EF836}"/>
          </ac:spMkLst>
        </pc:spChg>
        <pc:picChg chg="add mod">
          <ac:chgData name="Sandeep Reddy Hanumaihgari" userId="86a9f56c-2e65-4a80-9d64-63b9c07412a6" providerId="ADAL" clId="{5A858CCE-FF2B-44E5-B9D3-14B4342D2EF0}" dt="2018-05-05T22:48:40.981" v="69" actId="1076"/>
          <ac:picMkLst>
            <pc:docMk/>
            <pc:sldMk cId="131183013" sldId="305"/>
            <ac:picMk id="5" creationId="{B9CC0E75-6BAA-43D8-ACA1-87FC1FB81276}"/>
          </ac:picMkLst>
        </pc:picChg>
      </pc:sldChg>
      <pc:sldChg chg="addSp delSp modSp add">
        <pc:chgData name="Sandeep Reddy Hanumaihgari" userId="86a9f56c-2e65-4a80-9d64-63b9c07412a6" providerId="ADAL" clId="{5A858CCE-FF2B-44E5-B9D3-14B4342D2EF0}" dt="2018-05-05T22:54:59.411" v="137" actId="20577"/>
        <pc:sldMkLst>
          <pc:docMk/>
          <pc:sldMk cId="2499559378" sldId="306"/>
        </pc:sldMkLst>
        <pc:spChg chg="mod">
          <ac:chgData name="Sandeep Reddy Hanumaihgari" userId="86a9f56c-2e65-4a80-9d64-63b9c07412a6" providerId="ADAL" clId="{5A858CCE-FF2B-44E5-B9D3-14B4342D2EF0}" dt="2018-05-05T22:54:59.411" v="137" actId="20577"/>
          <ac:spMkLst>
            <pc:docMk/>
            <pc:sldMk cId="2499559378" sldId="306"/>
            <ac:spMk id="2" creationId="{89063D69-365A-408F-818A-A1204E232346}"/>
          </ac:spMkLst>
        </pc:spChg>
        <pc:spChg chg="del">
          <ac:chgData name="Sandeep Reddy Hanumaihgari" userId="86a9f56c-2e65-4a80-9d64-63b9c07412a6" providerId="ADAL" clId="{5A858CCE-FF2B-44E5-B9D3-14B4342D2EF0}" dt="2018-05-05T22:54:26.418" v="74"/>
          <ac:spMkLst>
            <pc:docMk/>
            <pc:sldMk cId="2499559378" sldId="306"/>
            <ac:spMk id="3" creationId="{EDBDD0B2-E24E-49F8-AB51-ED0B8956BB89}"/>
          </ac:spMkLst>
        </pc:spChg>
        <pc:picChg chg="add mod">
          <ac:chgData name="Sandeep Reddy Hanumaihgari" userId="86a9f56c-2e65-4a80-9d64-63b9c07412a6" providerId="ADAL" clId="{5A858CCE-FF2B-44E5-B9D3-14B4342D2EF0}" dt="2018-05-05T22:54:37.132" v="75" actId="1076"/>
          <ac:picMkLst>
            <pc:docMk/>
            <pc:sldMk cId="2499559378" sldId="306"/>
            <ac:picMk id="4" creationId="{932AD77A-2330-4E03-991D-EAE326B9F74C}"/>
          </ac:picMkLst>
        </pc:picChg>
      </pc:sldChg>
      <pc:sldChg chg="addSp delSp modSp add">
        <pc:chgData name="Sandeep Reddy Hanumaihgari" userId="86a9f56c-2e65-4a80-9d64-63b9c07412a6" providerId="ADAL" clId="{5A858CCE-FF2B-44E5-B9D3-14B4342D2EF0}" dt="2018-05-05T22:56:13.184" v="177" actId="1076"/>
        <pc:sldMkLst>
          <pc:docMk/>
          <pc:sldMk cId="1255005025" sldId="307"/>
        </pc:sldMkLst>
        <pc:spChg chg="mod">
          <ac:chgData name="Sandeep Reddy Hanumaihgari" userId="86a9f56c-2e65-4a80-9d64-63b9c07412a6" providerId="ADAL" clId="{5A858CCE-FF2B-44E5-B9D3-14B4342D2EF0}" dt="2018-05-05T22:55:50.197" v="175" actId="313"/>
          <ac:spMkLst>
            <pc:docMk/>
            <pc:sldMk cId="1255005025" sldId="307"/>
            <ac:spMk id="2" creationId="{E6F2E470-B134-41C2-8979-0A6D577903A5}"/>
          </ac:spMkLst>
        </pc:spChg>
        <pc:spChg chg="del">
          <ac:chgData name="Sandeep Reddy Hanumaihgari" userId="86a9f56c-2e65-4a80-9d64-63b9c07412a6" providerId="ADAL" clId="{5A858CCE-FF2B-44E5-B9D3-14B4342D2EF0}" dt="2018-05-05T22:56:10.056" v="176"/>
          <ac:spMkLst>
            <pc:docMk/>
            <pc:sldMk cId="1255005025" sldId="307"/>
            <ac:spMk id="3" creationId="{040A875A-6FE7-4968-878A-414BB01E61CB}"/>
          </ac:spMkLst>
        </pc:spChg>
        <pc:picChg chg="add mod">
          <ac:chgData name="Sandeep Reddy Hanumaihgari" userId="86a9f56c-2e65-4a80-9d64-63b9c07412a6" providerId="ADAL" clId="{5A858CCE-FF2B-44E5-B9D3-14B4342D2EF0}" dt="2018-05-05T22:56:13.184" v="177" actId="1076"/>
          <ac:picMkLst>
            <pc:docMk/>
            <pc:sldMk cId="1255005025" sldId="307"/>
            <ac:picMk id="4" creationId="{726D20D4-B767-4165-8507-72A5FB526D14}"/>
          </ac:picMkLst>
        </pc:picChg>
      </pc:sldChg>
    </pc:docChg>
  </pc:docChgLst>
  <pc:docChgLst>
    <pc:chgData name="Sandeep Reddy Hanumaihgari" userId="86a9f56c-2e65-4a80-9d64-63b9c07412a6" providerId="ADAL" clId="{71B50FF3-AB2A-448E-9D5A-19D618C94357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79A268-BC20-4C4B-AD49-13C7E7892CCC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614D3-19B3-4C34-9035-E38A193485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5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4"/>
            <a:ext cx="2971800" cy="457200"/>
          </a:xfrm>
          <a:prstGeom prst="rect">
            <a:avLst/>
          </a:prstGeom>
        </p:spPr>
        <p:txBody>
          <a:bodyPr/>
          <a:lstStyle/>
          <a:p>
            <a:fld id="{269BF997-9B5F-4A82-AF31-6E87F25749B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360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63B73-1F3F-48A1-868B-556C9EBE01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1542A6-BC5D-406C-BE1E-844BBBE4D4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6E802A-AAAE-4137-A3EC-78A795EA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E810E1-EA93-4156-9E4F-516D85C61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18669-54D8-4FA7-AC03-4711395A8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110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80569-26CD-4E48-AB8F-C8D393C56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DBDF74-D7DD-4F74-8204-768D6D8C87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EE0E80-DE55-4227-8F22-8B46CC3313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D90D3-5DB1-4E46-965A-43DE2A1AD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7E9E31-07F6-4BA3-89E4-4406CB6F4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2083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FB4F80-033E-40D6-8EB5-E065B96887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3FA981-8292-42BE-B5C1-A1E25890D7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2BE0CF-2BE4-4B92-BEC3-5CF0BDF96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738A02-307F-4A5A-BA7D-F53437CEE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FE8E8-723C-4492-8FB7-5544427AE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567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705" y="1604798"/>
            <a:ext cx="11079128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4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3908" y="3094328"/>
            <a:ext cx="11082925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7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5082424" y="6195793"/>
            <a:ext cx="2027152" cy="29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9170"/>
            <a:r>
              <a:rPr lang="en-US" sz="110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  <a:endParaRPr lang="en-US" sz="11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002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000" y="1396812"/>
            <a:ext cx="6600000" cy="1470025"/>
          </a:xfrm>
        </p:spPr>
        <p:txBody>
          <a:bodyPr anchor="t" anchorCtr="0">
            <a:noAutofit/>
          </a:bodyPr>
          <a:lstStyle>
            <a:lvl1pPr>
              <a:defRPr sz="41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8000" y="2955600"/>
            <a:ext cx="6600000" cy="1486800"/>
          </a:xfrm>
        </p:spPr>
        <p:txBody>
          <a:bodyPr>
            <a:noAutofit/>
          </a:bodyPr>
          <a:lstStyle>
            <a:lvl1pPr marL="0" indent="0" algn="l">
              <a:buNone/>
              <a:defRPr sz="2700" b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</a:t>
            </a:r>
            <a:r>
              <a:rPr lang="nl-NL" sz="16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-mm-</a:t>
            </a:r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3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asic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738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No 2nd top lin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00" y="378000"/>
            <a:ext cx="11655040" cy="75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200" y="1124744"/>
            <a:ext cx="11664000" cy="49628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9301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43125" y="1124744"/>
            <a:ext cx="6312000" cy="12456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2" name="AddNotifier#1"/>
          <p:cNvSpPr txBox="1">
            <a:spLocks noChangeArrowheads="1"/>
          </p:cNvSpPr>
          <p:nvPr userDrawn="1"/>
        </p:nvSpPr>
        <p:spPr bwMode="auto">
          <a:xfrm>
            <a:off x="2918917" y="3166337"/>
            <a:ext cx="6312000" cy="148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6" tIns="60948" rIns="121896" bIns="60948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nsulting, Atos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grid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line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5. © 2015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sp>
        <p:nvSpPr>
          <p:cNvPr id="7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-mm-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AddClassification"/>
          <p:cNvSpPr txBox="1">
            <a:spLocks noChangeArrowheads="1"/>
          </p:cNvSpPr>
          <p:nvPr userDrawn="1"/>
        </p:nvSpPr>
        <p:spPr bwMode="auto">
          <a:xfrm>
            <a:off x="4870315" y="6386411"/>
            <a:ext cx="2409208" cy="328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96" tIns="60948" rIns="121896" bIns="6094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425212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4F4AC-E648-434F-BEDB-346C6DBF9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312F3D-B04D-4F29-80F1-0837DC278F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58322C-9794-48D1-A122-5BFD30DD0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ECFE6F-FAAA-4B59-BBF9-67A117559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FF35E-BA32-4430-8147-FABE21F0D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5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A721F-979D-4E0A-969B-7BB719E37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0F2DCB-7440-4EFE-84FD-C5B145200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9ACA7C-2459-464A-91EB-8BD8D435E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82BCB3-0A02-4EF7-B31F-717F56208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DA4E46-7117-4D66-868F-0C98B7A07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32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3B745-55E6-46E8-A9C1-1D98F55C4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B1F58C-8AE0-467A-998D-E3674FEEAC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0C3FB9-B5F5-4E9A-A17A-B5D6D4D932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147810-B2A7-4D3B-A423-C016E19B1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F82A90-1D5F-4C48-B548-158C650F0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D40744-9B09-41CF-8B15-03637B1E3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51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97563-4482-4574-830B-35EECC306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71EB2-9F73-4E58-9B70-1E050A354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1C5A2C-F538-4D22-98A9-44D27C3692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E44E8-930C-40B0-835A-0A5C05D1F3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C8BB31-4C2B-4D50-8EB0-CF37B702BB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F99087-D002-4FE9-B555-9E2DC5690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5234BA-58AC-4B2A-810E-78129A0FA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C9DCA1-C6F2-4CF8-AD8A-7151584BD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720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21152-6F5D-4953-9548-73735ECF3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0916F0-D4AD-4E4E-B6B4-3A6A6BAC6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D95BE9-D92C-4FE0-AFA4-E1A698F15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98B18E-5C3A-48C0-96B0-9B54BCBC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958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5E6C72-7166-4CA2-BC9E-C452D7AB67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2E8DAF-2365-48A4-8150-C5BCAF10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2120AC-937E-4B78-B520-3A8707C5B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83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3DD97-A677-45A3-AD27-50F3B7686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9FAE0-B897-45AD-B735-9875E0B572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5F4331-14A5-4906-B535-11DFC7BB87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15BE19-62C1-4201-BE5A-06A040EF4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D9B403-FD2B-4AAB-A35A-3D5E1168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1C00C-92D0-4167-83E0-D6C96287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998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9E95F-F2A1-41BB-8B65-1CBC83EF7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00368E-6900-484E-8EE4-2022CE8B6F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C11AFA-F4D4-4382-89A4-1033B93774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A79854-9770-4B55-9842-F704E5A9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6E9529-00BE-434D-88DD-255B69E73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C066D-5495-4B44-B716-BD7D06054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47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3447FF-3495-4E79-BFE3-BFEE93C4F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63DAE0-3EFD-48A2-9700-FE7CE93A8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952D2-743E-4B8A-A3A7-F3C054AA24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C3202-D806-4596-B738-5EFF906A959D}" type="datetimeFigureOut">
              <a:rPr lang="en-US" smtClean="0"/>
              <a:t>5/6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4BA33-A220-4C6F-97D3-EC5A351B95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C0680-4F5F-4D3E-8B9C-72D97FCC6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22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/>
          <p:nvPr/>
        </p:nvSpPr>
        <p:spPr>
          <a:xfrm>
            <a:off x="254403" y="6259454"/>
            <a:ext cx="2088024" cy="323141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en-US" sz="13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© Atos - Confidentia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600" y="312000"/>
            <a:ext cx="11664000" cy="756000"/>
          </a:xfrm>
          <a:prstGeom prst="rect">
            <a:avLst/>
          </a:prstGeom>
        </p:spPr>
        <p:txBody>
          <a:bodyPr vert="horz" lIns="121896" tIns="60948" rIns="121896" bIns="60948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0" y="1454400"/>
            <a:ext cx="11664000" cy="4633200"/>
          </a:xfrm>
          <a:prstGeom prst="rect">
            <a:avLst/>
          </a:prstGeom>
        </p:spPr>
        <p:txBody>
          <a:bodyPr vert="horz" lIns="121896" tIns="60948" rIns="121896" bIns="60948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085894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893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59926" indent="-359926" algn="l" defTabSz="121893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19839" indent="-359926" algn="l" defTabSz="1218930" rtl="0" eaLnBrk="1" latinLnBrk="0" hangingPunct="1">
        <a:spcBef>
          <a:spcPts val="512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079760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439676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799602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35204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512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97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436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9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3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92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8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6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5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b="0" dirty="0"/>
            </a:br>
            <a:r>
              <a:rPr lang="en-US" b="0" dirty="0"/>
              <a:t> </a:t>
            </a:r>
            <a:r>
              <a:rPr lang="en-US" sz="3200" b="0" dirty="0"/>
              <a:t>SAP HANA High Availability &amp; Disaster Recovery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147571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C4628D-D55A-4311-B788-57AC05323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002C26B-B33D-409F-B54B-8EA50A9869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09941" y="1616766"/>
            <a:ext cx="10247318" cy="3683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6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6FABBB-95CA-44D7-AB8F-FB009CD6A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Availability, Backup, and Disaster Recovery – Setup Option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8B6BFEB-7C54-44A3-83FE-970F9DD79C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98794" y="1285462"/>
            <a:ext cx="10869611" cy="447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47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C6D43-8587-4627-91C1-4EC4B1841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47CE6A5-261C-4894-AFD2-D78770F4C7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10886" y="1385419"/>
            <a:ext cx="6845428" cy="4431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76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B65AB7-0E20-47CB-B145-F1C538C19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Replicatio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73BAA8D-83EF-4E9A-BC30-B4DBFE3DEA8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7617" y="1285461"/>
            <a:ext cx="9835532" cy="281015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0027E1B-DEDC-42E0-B0ED-73461DD50C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1761" y="3896830"/>
            <a:ext cx="3600926" cy="224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5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8C677-33DA-45CF-BD3F-2415A51DB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Replication mode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9AC24DA-A5C4-493F-8BAB-98B1F19C9E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28563" y="1630018"/>
            <a:ext cx="11010073" cy="3543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738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A0307D-AA11-4619-A539-CDAF7684D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472469D-B2C8-4B87-A611-8EACF51653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0628" y="1789045"/>
            <a:ext cx="11005943" cy="3484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16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4EE558-1DC3-4C66-8571-BF047ABD7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Operation mode – Option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3319B6F-4C78-4069-BAA5-ED72F71BD3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7525" y="1696278"/>
            <a:ext cx="11292149" cy="344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49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FC478-AA2F-484C-B460-0DEA126C3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ous Log Replay Replicatio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971292A-0CDE-4F96-9B92-8BE3B1D4D1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12498" y="1524000"/>
            <a:ext cx="10042204" cy="409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92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69F3A-7680-44C5-A130-F033FE0F2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A 2.0 SPS02: Active/Active read-enabled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9FF7485-74BD-4BD7-A99F-90C2763C0A7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51402" y="1326559"/>
            <a:ext cx="9564395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96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9CC0E75-6BAA-43D8-ACA1-87FC1FB812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38077" y="1475415"/>
            <a:ext cx="9791738" cy="463391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FAF38EE5-B2EB-438D-BB7D-D1A7EC5EF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A 2.0 SPS02: Active/Active Cockpit</a:t>
            </a:r>
          </a:p>
        </p:txBody>
      </p:sp>
    </p:spTree>
    <p:extLst>
      <p:ext uri="{BB962C8B-B14F-4D97-AF65-F5344CB8AC3E}">
        <p14:creationId xmlns:p14="http://schemas.microsoft.com/office/powerpoint/2010/main" val="13118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E0B62-EB28-40EF-B4A4-16851037A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Continuous Availability</a:t>
            </a:r>
            <a:br>
              <a:rPr lang="en-US" dirty="0"/>
            </a:br>
            <a:r>
              <a:rPr lang="en-US" b="0" i="1" dirty="0"/>
              <a:t>Customer Expectation: Planned &amp; Unplanned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6039953-246B-4220-89DF-ECD9BD5AE6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98200" y="1328740"/>
            <a:ext cx="7270800" cy="459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90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FF9CA1-D0E7-4E76-93D9-FFEC35E14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D99004F-2304-4FC6-BF4A-8D8A0BF557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27402" y="1417983"/>
            <a:ext cx="10412395" cy="4253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033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5949E-D0E4-425D-9056-1E99A08C9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6F91872-493C-4F58-A4C2-C89E59E2035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61996" y="1391479"/>
            <a:ext cx="10343207" cy="420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1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679318-BB14-4D5A-B278-B1285C1E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b="0" dirty="0"/>
              <a:t>Data retention vs. log retention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27FE223-E6A9-4270-98DC-0ECF0B6B8D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5685" y="1338471"/>
            <a:ext cx="10615830" cy="4465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77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063D69-365A-408F-818A-A1204E232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nant copy/move &amp; SAP HANA System Replicatio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32AD77A-2330-4E03-991D-EAE326B9F7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62171" y="1361128"/>
            <a:ext cx="10342857" cy="462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559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F2E470-B134-41C2-8979-0A6D57790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SR Replication Status “TENANTCOPY”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26D20D4-B767-4165-8507-72A5FB526D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72190" y="1433538"/>
            <a:ext cx="10047619" cy="422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005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4746F-3A09-4D26-B75E-D67E963E2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at is high availability?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4E9AEDF-07DC-42D6-80D0-DB80C9AF1F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16251" y="1656522"/>
            <a:ext cx="10434698" cy="3977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843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6DE30-40A5-4540-8FD6-C8BC6D2F2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SAP HANA Scale-Out, High Availability &amp; Disaster Tolerance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AD7D0C5-99CB-4461-94DB-F2C615BE1D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09674" y="1404730"/>
            <a:ext cx="7847851" cy="437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92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8AF5B5-5507-497A-8717-3D528E9B4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Scaling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3F44286-4597-4A40-900E-09746E79DD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56663" y="1457739"/>
            <a:ext cx="7753874" cy="424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83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A0BF5-FFE7-4ADD-95E6-8667ACE55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Recovery – key performance indicator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7AC4C22-7C29-4AE2-A1BD-7D6210BCC7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0849" y="1391478"/>
            <a:ext cx="10665502" cy="4251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263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BBABF-0D46-4D04-B863-F74300C31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283A96F-A0E0-49C2-B321-6BABF2FAC19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96533" y="1484243"/>
            <a:ext cx="10874133" cy="4104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482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E9C18-7BA0-4209-A818-8D7B7C391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FC4CD8D-1AD5-438B-BEFD-FBA43A292D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71094" y="1431235"/>
            <a:ext cx="10525012" cy="3873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97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9303B-6E05-4994-87FE-B57D815DF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DF669D4-4425-4CB0-BB76-22F800BF2A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3704" y="1884430"/>
            <a:ext cx="10919791" cy="3259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49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T-Atos_Widescreen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FBFB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</TotalTime>
  <Words>87</Words>
  <PresentationFormat>Widescreen</PresentationFormat>
  <Paragraphs>17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Calibri</vt:lpstr>
      <vt:lpstr>Calibri Light</vt:lpstr>
      <vt:lpstr>Lucida Sans Unicode</vt:lpstr>
      <vt:lpstr>Verdana</vt:lpstr>
      <vt:lpstr>Office Theme</vt:lpstr>
      <vt:lpstr>PPT-Atos_Widescreen</vt:lpstr>
      <vt:lpstr>think-cell Slide</vt:lpstr>
      <vt:lpstr>  SAP HANA High Availability &amp; Disaster Recovery</vt:lpstr>
      <vt:lpstr>SAP HANA Continuous Availability Customer Expectation: Planned &amp; Unplanned</vt:lpstr>
      <vt:lpstr>What is high availability?</vt:lpstr>
      <vt:lpstr>SAP HANA Scale-Out, High Availability &amp; Disaster Tolerance</vt:lpstr>
      <vt:lpstr>SAP HANA Scaling</vt:lpstr>
      <vt:lpstr>Recovery – key performance indicators</vt:lpstr>
      <vt:lpstr>PowerPoint Presentation</vt:lpstr>
      <vt:lpstr>PowerPoint Presentation</vt:lpstr>
      <vt:lpstr>PowerPoint Presentation</vt:lpstr>
      <vt:lpstr>PowerPoint Presentation</vt:lpstr>
      <vt:lpstr>High Availability, Backup, and Disaster Recovery – Setup Options</vt:lpstr>
      <vt:lpstr>PowerPoint Presentation</vt:lpstr>
      <vt:lpstr>System Replication</vt:lpstr>
      <vt:lpstr>Replication mode</vt:lpstr>
      <vt:lpstr>PowerPoint Presentation</vt:lpstr>
      <vt:lpstr>Operation mode – Options</vt:lpstr>
      <vt:lpstr>Continuous Log Replay Replication</vt:lpstr>
      <vt:lpstr>HANA 2.0 SPS02: Active/Active read-enabled</vt:lpstr>
      <vt:lpstr>HANA 2.0 SPS02: Active/Active Cockpit</vt:lpstr>
      <vt:lpstr>PowerPoint Presentation</vt:lpstr>
      <vt:lpstr>PowerPoint Presentation</vt:lpstr>
      <vt:lpstr>Data retention vs. log retention</vt:lpstr>
      <vt:lpstr>Tenant copy/move &amp; SAP HANA System Replication</vt:lpstr>
      <vt:lpstr>HSR Replication Status “TENANTCOPY”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7-10-23T12:55:41Z</dcterms:created>
  <dcterms:modified xsi:type="dcterms:W3CDTF">2018-05-05T22:56:19Z</dcterms:modified>
</cp:coreProperties>
</file>